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</p:sldMasterIdLst>
  <p:notesMasterIdLst>
    <p:notesMasterId r:id="rId5"/>
  </p:notesMasterIdLst>
  <p:handoutMasterIdLst>
    <p:handoutMasterId r:id="rId6"/>
  </p:handoutMasterIdLst>
  <p:sldIdLst>
    <p:sldId id="257" r:id="rId2"/>
    <p:sldId id="280" r:id="rId3"/>
    <p:sldId id="27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300"/>
    <a:srgbClr val="EEEEEE"/>
    <a:srgbClr val="F7F7F7"/>
    <a:srgbClr val="F4F4F4"/>
    <a:srgbClr val="FAFAFA"/>
    <a:srgbClr val="D964C7"/>
    <a:srgbClr val="A4A1A9"/>
    <a:srgbClr val="660B0B"/>
    <a:srgbClr val="D91F1F"/>
    <a:srgbClr val="231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061" autoAdjust="0"/>
  </p:normalViewPr>
  <p:slideViewPr>
    <p:cSldViewPr snapToGrid="0">
      <p:cViewPr varScale="1">
        <p:scale>
          <a:sx n="111" d="100"/>
          <a:sy n="111" d="100"/>
        </p:scale>
        <p:origin x="456" y="102"/>
      </p:cViewPr>
      <p:guideLst/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70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030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95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A6A5F327-94E3-4266-9A78-098328E7FCB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6075" indent="-346075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514350" indent="-168275">
              <a:defRPr>
                <a:solidFill>
                  <a:schemeClr val="tx1"/>
                </a:solidFill>
              </a:defRPr>
            </a:lvl2pPr>
            <a:lvl3pPr marL="685800" indent="-17145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45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41" r:id="rId9"/>
    <p:sldLayoutId id="2147483698" r:id="rId10"/>
    <p:sldLayoutId id="2147483740" r:id="rId11"/>
    <p:sldLayoutId id="2147483735" r:id="rId12"/>
    <p:sldLayoutId id="2147483738" r:id="rId13"/>
    <p:sldLayoutId id="2147483737" r:id="rId14"/>
    <p:sldLayoutId id="2147483732" r:id="rId15"/>
    <p:sldLayoutId id="2147483728" r:id="rId16"/>
    <p:sldLayoutId id="2147483700" r:id="rId17"/>
    <p:sldLayoutId id="2147483729" r:id="rId18"/>
    <p:sldLayoutId id="2147483702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354EF-88AF-4F94-A95E-F46279720F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Speaker Title / Company Nam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264F6-154F-4FCD-BBB3-C459A3ADE6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YYYY.MM.D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5F46-8A88-4D88-B390-270E330FCB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Speaker Nam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utomation Too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AEC044-D87C-4FB4-B698-2806E9B0FCC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F155C6-E19F-4F21-B578-D08DAF1BD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流程图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DC4AD8-7902-440F-9FB5-2531AF54699D}"/>
              </a:ext>
            </a:extLst>
          </p:cNvPr>
          <p:cNvSpPr/>
          <p:nvPr/>
        </p:nvSpPr>
        <p:spPr>
          <a:xfrm>
            <a:off x="160755" y="1380881"/>
            <a:ext cx="2518286" cy="20195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3E3061-133C-4269-9EBC-AADD60D075C9}"/>
              </a:ext>
            </a:extLst>
          </p:cNvPr>
          <p:cNvSpPr txBox="1"/>
          <p:nvPr/>
        </p:nvSpPr>
        <p:spPr>
          <a:xfrm>
            <a:off x="298150" y="1450876"/>
            <a:ext cx="71814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zard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E7FA43F-C413-4E9E-BCC6-F6AA0C8B0BE0}"/>
              </a:ext>
            </a:extLst>
          </p:cNvPr>
          <p:cNvSpPr/>
          <p:nvPr/>
        </p:nvSpPr>
        <p:spPr>
          <a:xfrm>
            <a:off x="574506" y="1919630"/>
            <a:ext cx="1690777" cy="50033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参数提取</a:t>
            </a:r>
            <a:endParaRPr lang="en-US" dirty="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4469B1F-3009-4534-9FBC-28BA37349227}"/>
              </a:ext>
            </a:extLst>
          </p:cNvPr>
          <p:cNvSpPr/>
          <p:nvPr/>
        </p:nvSpPr>
        <p:spPr>
          <a:xfrm>
            <a:off x="574506" y="2676817"/>
            <a:ext cx="1690777" cy="50033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插损评估</a:t>
            </a:r>
            <a:endParaRPr lang="en-US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C45CB1-1637-4BBC-A81D-F83F551E20EA}"/>
              </a:ext>
            </a:extLst>
          </p:cNvPr>
          <p:cNvSpPr/>
          <p:nvPr/>
        </p:nvSpPr>
        <p:spPr>
          <a:xfrm>
            <a:off x="3208350" y="1380881"/>
            <a:ext cx="2241430" cy="129593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D39662C-AE83-4B5C-863C-52EBB8DB26ED}"/>
              </a:ext>
            </a:extLst>
          </p:cNvPr>
          <p:cNvSpPr/>
          <p:nvPr/>
        </p:nvSpPr>
        <p:spPr>
          <a:xfrm>
            <a:off x="3853893" y="1584346"/>
            <a:ext cx="1411857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去嵌</a:t>
            </a:r>
            <a:endParaRPr lang="en-US" dirty="0" err="1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87A836A-7354-4648-A582-EFE2D5DB1ACD}"/>
              </a:ext>
            </a:extLst>
          </p:cNvPr>
          <p:cNvSpPr/>
          <p:nvPr/>
        </p:nvSpPr>
        <p:spPr>
          <a:xfrm>
            <a:off x="3853893" y="2144889"/>
            <a:ext cx="1411857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导入</a:t>
            </a:r>
            <a:r>
              <a:rPr lang="en-US" altLang="zh-CN" dirty="0"/>
              <a:t>S2P</a:t>
            </a:r>
            <a:r>
              <a:rPr lang="zh-CN" altLang="en-US" dirty="0"/>
              <a:t>参数</a:t>
            </a:r>
            <a:endParaRPr lang="en-US" dirty="0" err="1"/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BB588D02-E294-41F3-9A6E-36013544BB3C}"/>
              </a:ext>
            </a:extLst>
          </p:cNvPr>
          <p:cNvSpPr/>
          <p:nvPr/>
        </p:nvSpPr>
        <p:spPr>
          <a:xfrm>
            <a:off x="3393962" y="1623366"/>
            <a:ext cx="274320" cy="274320"/>
          </a:xfrm>
          <a:prstGeom prst="flowChartConnector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4E3F4486-5234-4FD1-B6A7-1BFA560E54A3}"/>
              </a:ext>
            </a:extLst>
          </p:cNvPr>
          <p:cNvSpPr/>
          <p:nvPr/>
        </p:nvSpPr>
        <p:spPr>
          <a:xfrm>
            <a:off x="3485402" y="1714806"/>
            <a:ext cx="91440" cy="91440"/>
          </a:xfrm>
          <a:prstGeom prst="flowChartConnector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2E1F81FB-2C43-4179-BAA4-78123D7387C6}"/>
              </a:ext>
            </a:extLst>
          </p:cNvPr>
          <p:cNvSpPr/>
          <p:nvPr/>
        </p:nvSpPr>
        <p:spPr>
          <a:xfrm>
            <a:off x="3393962" y="2175370"/>
            <a:ext cx="274320" cy="274320"/>
          </a:xfrm>
          <a:prstGeom prst="flowChartConnector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387E2E-D05C-48AC-A5E3-8886D516441D}"/>
              </a:ext>
            </a:extLst>
          </p:cNvPr>
          <p:cNvSpPr/>
          <p:nvPr/>
        </p:nvSpPr>
        <p:spPr>
          <a:xfrm>
            <a:off x="6936617" y="1380881"/>
            <a:ext cx="2241430" cy="129593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917285-CCE7-43A8-ACD1-04F0F6E4CF7B}"/>
              </a:ext>
            </a:extLst>
          </p:cNvPr>
          <p:cNvSpPr txBox="1"/>
          <p:nvPr/>
        </p:nvSpPr>
        <p:spPr>
          <a:xfrm>
            <a:off x="7084838" y="2257972"/>
            <a:ext cx="19749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确定优化目标的频率范围</a:t>
            </a: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0D7D53-B3A2-4CC4-96CB-548B9C62CB26}"/>
              </a:ext>
            </a:extLst>
          </p:cNvPr>
          <p:cNvSpPr/>
          <p:nvPr/>
        </p:nvSpPr>
        <p:spPr>
          <a:xfrm>
            <a:off x="9707356" y="1380881"/>
            <a:ext cx="2241430" cy="129593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4B2FA8-BE51-41CF-B2D5-FFAE4A13CF9C}"/>
              </a:ext>
            </a:extLst>
          </p:cNvPr>
          <p:cNvSpPr txBox="1"/>
          <p:nvPr/>
        </p:nvSpPr>
        <p:spPr>
          <a:xfrm>
            <a:off x="9827797" y="1606638"/>
            <a:ext cx="200054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输入物理参数（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1/H2/T/W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）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选择粗糙度模型并输入参数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设置频率范围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设定优化目标及变量调整区间</a:t>
            </a:r>
            <a:endParaRPr lang="en-US" sz="12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0B9425-3598-4857-9D75-0397C8CD495B}"/>
              </a:ext>
            </a:extLst>
          </p:cNvPr>
          <p:cNvSpPr/>
          <p:nvPr/>
        </p:nvSpPr>
        <p:spPr>
          <a:xfrm>
            <a:off x="9965637" y="3857490"/>
            <a:ext cx="1732418" cy="4990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52A0A01E-05C1-4FF4-BB8A-0C63DD22E278}"/>
              </a:ext>
            </a:extLst>
          </p:cNvPr>
          <p:cNvSpPr/>
          <p:nvPr/>
        </p:nvSpPr>
        <p:spPr>
          <a:xfrm>
            <a:off x="10122142" y="2877919"/>
            <a:ext cx="1411857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启动优化</a:t>
            </a:r>
            <a:endParaRPr lang="en-US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172F9A5-B3F5-459A-9BE6-6131637D6541}"/>
              </a:ext>
            </a:extLst>
          </p:cNvPr>
          <p:cNvSpPr txBox="1"/>
          <p:nvPr/>
        </p:nvSpPr>
        <p:spPr>
          <a:xfrm>
            <a:off x="10125918" y="3922337"/>
            <a:ext cx="16217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观察优化进度，必要时调整目标及变量范围</a:t>
            </a:r>
            <a:endParaRPr lang="en-US" sz="12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1A20B2-430B-4161-A6C0-A30C1D23ABE1}"/>
              </a:ext>
            </a:extLst>
          </p:cNvPr>
          <p:cNvSpPr/>
          <p:nvPr/>
        </p:nvSpPr>
        <p:spPr>
          <a:xfrm>
            <a:off x="9965637" y="4665498"/>
            <a:ext cx="1732418" cy="4990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0B02E9-4ABB-4C7C-ACDB-F9371E41552E}"/>
              </a:ext>
            </a:extLst>
          </p:cNvPr>
          <p:cNvSpPr txBox="1"/>
          <p:nvPr/>
        </p:nvSpPr>
        <p:spPr>
          <a:xfrm>
            <a:off x="10010381" y="4730345"/>
            <a:ext cx="17324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优化完成后手动更新原理图，执行仿真，观察结果</a:t>
            </a:r>
            <a:endParaRPr lang="en-US" sz="12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80238A3-02C1-4D8C-B8B7-1FD8D65C30B2}"/>
              </a:ext>
            </a:extLst>
          </p:cNvPr>
          <p:cNvSpPr/>
          <p:nvPr/>
        </p:nvSpPr>
        <p:spPr>
          <a:xfrm>
            <a:off x="9965637" y="5473506"/>
            <a:ext cx="1732418" cy="64485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将优化结果导入数据库</a:t>
            </a:r>
            <a:endParaRPr lang="en-US" dirty="0" err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E26CC97-3A05-4976-83BD-229384BF17A0}"/>
              </a:ext>
            </a:extLst>
          </p:cNvPr>
          <p:cNvSpPr/>
          <p:nvPr/>
        </p:nvSpPr>
        <p:spPr>
          <a:xfrm>
            <a:off x="243203" y="4707274"/>
            <a:ext cx="2241430" cy="129593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A42F3F5-278C-4A39-BAF4-8E70A14CA604}"/>
              </a:ext>
            </a:extLst>
          </p:cNvPr>
          <p:cNvCxnSpPr/>
          <p:nvPr/>
        </p:nvCxnSpPr>
        <p:spPr>
          <a:xfrm>
            <a:off x="303588" y="5170576"/>
            <a:ext cx="2078966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DD80824-9BDE-4E40-9E53-3C46CBBEC228}"/>
              </a:ext>
            </a:extLst>
          </p:cNvPr>
          <p:cNvSpPr/>
          <p:nvPr/>
        </p:nvSpPr>
        <p:spPr>
          <a:xfrm>
            <a:off x="637142" y="4753422"/>
            <a:ext cx="1411857" cy="29299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/>
              <a:t>调取材料参数</a:t>
            </a:r>
            <a:endParaRPr lang="en-US" sz="140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CE67AD3-2C36-4C82-9AB2-FEF9BCB6CE5F}"/>
              </a:ext>
            </a:extLst>
          </p:cNvPr>
          <p:cNvSpPr/>
          <p:nvPr/>
        </p:nvSpPr>
        <p:spPr>
          <a:xfrm>
            <a:off x="3266709" y="5191949"/>
            <a:ext cx="1411857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执行仿真</a:t>
            </a:r>
            <a:endParaRPr lang="en-US" dirty="0" err="1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DBEC31E7-DC16-4B78-8691-FAE8F9626DA4}"/>
              </a:ext>
            </a:extLst>
          </p:cNvPr>
          <p:cNvSpPr/>
          <p:nvPr/>
        </p:nvSpPr>
        <p:spPr>
          <a:xfrm>
            <a:off x="7280958" y="1727875"/>
            <a:ext cx="1582659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参数质量评估</a:t>
            </a:r>
            <a:endParaRPr lang="en-US" dirty="0" err="1"/>
          </a:p>
        </p:txBody>
      </p:sp>
      <p:pic>
        <p:nvPicPr>
          <p:cNvPr id="42" name="Graphic 41" descr="Database">
            <a:extLst>
              <a:ext uri="{FF2B5EF4-FFF2-40B4-BE49-F238E27FC236}">
                <a16:creationId xmlns:a16="http://schemas.microsoft.com/office/drawing/2014/main" id="{C9E895C9-AAA3-469D-A791-4F6684B138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74390" y="3238380"/>
            <a:ext cx="1223382" cy="1223382"/>
          </a:xfrm>
          <a:prstGeom prst="rect">
            <a:avLst/>
          </a:prstGeom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BDF3482-9148-46AB-A0B1-4FB229427C87}"/>
              </a:ext>
            </a:extLst>
          </p:cNvPr>
          <p:cNvSpPr/>
          <p:nvPr/>
        </p:nvSpPr>
        <p:spPr>
          <a:xfrm>
            <a:off x="5706859" y="1530903"/>
            <a:ext cx="965103" cy="45924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/>
              <a:t>调用</a:t>
            </a:r>
            <a:r>
              <a:rPr lang="en-US" altLang="zh-CN" sz="1400" dirty="0"/>
              <a:t>PLTS</a:t>
            </a:r>
            <a:endParaRPr lang="en-US" sz="1400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4EEE7DD-FC5E-4306-9E44-CB257118E553}"/>
              </a:ext>
            </a:extLst>
          </p:cNvPr>
          <p:cNvCxnSpPr>
            <a:stCxn id="7" idx="3"/>
            <a:endCxn id="12" idx="1"/>
          </p:cNvCxnSpPr>
          <p:nvPr/>
        </p:nvCxnSpPr>
        <p:spPr>
          <a:xfrm flipV="1">
            <a:off x="2265283" y="2028849"/>
            <a:ext cx="943067" cy="140947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9DC4321-613F-430E-A43F-3B269F985CFB}"/>
              </a:ext>
            </a:extLst>
          </p:cNvPr>
          <p:cNvCxnSpPr>
            <a:endCxn id="44" idx="1"/>
          </p:cNvCxnSpPr>
          <p:nvPr/>
        </p:nvCxnSpPr>
        <p:spPr>
          <a:xfrm>
            <a:off x="5265750" y="1727875"/>
            <a:ext cx="441109" cy="32651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31623C11-A0C5-49E1-BBEB-D0D610215D49}"/>
              </a:ext>
            </a:extLst>
          </p:cNvPr>
          <p:cNvCxnSpPr>
            <a:stCxn id="44" idx="3"/>
            <a:endCxn id="40" idx="1"/>
          </p:cNvCxnSpPr>
          <p:nvPr/>
        </p:nvCxnSpPr>
        <p:spPr>
          <a:xfrm>
            <a:off x="6671962" y="1760526"/>
            <a:ext cx="608996" cy="134991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E8BC3FCB-6127-4E3D-ABE9-5D95C512C1A8}"/>
              </a:ext>
            </a:extLst>
          </p:cNvPr>
          <p:cNvCxnSpPr>
            <a:stCxn id="14" idx="3"/>
            <a:endCxn id="40" idx="1"/>
          </p:cNvCxnSpPr>
          <p:nvPr/>
        </p:nvCxnSpPr>
        <p:spPr>
          <a:xfrm flipV="1">
            <a:off x="5265750" y="1895517"/>
            <a:ext cx="2015208" cy="417014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74BF2F87-5D5B-4C8A-B064-1F96B58DA25C}"/>
              </a:ext>
            </a:extLst>
          </p:cNvPr>
          <p:cNvCxnSpPr>
            <a:stCxn id="40" idx="0"/>
            <a:endCxn id="12" idx="0"/>
          </p:cNvCxnSpPr>
          <p:nvPr/>
        </p:nvCxnSpPr>
        <p:spPr>
          <a:xfrm rot="16200000" flipV="1">
            <a:off x="6027180" y="-317234"/>
            <a:ext cx="346994" cy="3743223"/>
          </a:xfrm>
          <a:prstGeom prst="bentConnector3">
            <a:avLst>
              <a:gd name="adj1" fmla="val 165880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20942A40-D760-4046-9430-2721D6EA9AA4}"/>
              </a:ext>
            </a:extLst>
          </p:cNvPr>
          <p:cNvSpPr txBox="1"/>
          <p:nvPr/>
        </p:nvSpPr>
        <p:spPr>
          <a:xfrm>
            <a:off x="5952043" y="890681"/>
            <a:ext cx="64262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不合格</a:t>
            </a:r>
            <a:endParaRPr lang="en-US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10F5D8FB-3E79-499C-B798-C76455BEA3BB}"/>
              </a:ext>
            </a:extLst>
          </p:cNvPr>
          <p:cNvCxnSpPr>
            <a:stCxn id="40" idx="3"/>
            <a:endCxn id="22" idx="1"/>
          </p:cNvCxnSpPr>
          <p:nvPr/>
        </p:nvCxnSpPr>
        <p:spPr>
          <a:xfrm>
            <a:off x="8863617" y="1895517"/>
            <a:ext cx="843739" cy="13333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B7B13494-43C6-4252-B7AB-CEF4347FBF97}"/>
              </a:ext>
            </a:extLst>
          </p:cNvPr>
          <p:cNvCxnSpPr>
            <a:stCxn id="22" idx="2"/>
            <a:endCxn id="25" idx="0"/>
          </p:cNvCxnSpPr>
          <p:nvPr/>
        </p:nvCxnSpPr>
        <p:spPr>
          <a:xfrm>
            <a:off x="10828071" y="2676817"/>
            <a:ext cx="0" cy="20110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94476FB-5479-4DE0-8C99-EDDABE8C1D22}"/>
              </a:ext>
            </a:extLst>
          </p:cNvPr>
          <p:cNvCxnSpPr>
            <a:cxnSpLocks/>
            <a:stCxn id="25" idx="2"/>
            <a:endCxn id="24" idx="0"/>
          </p:cNvCxnSpPr>
          <p:nvPr/>
        </p:nvCxnSpPr>
        <p:spPr>
          <a:xfrm>
            <a:off x="10828071" y="3213202"/>
            <a:ext cx="3775" cy="644288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44133072-105E-486A-90A3-3F6B7E005FB1}"/>
              </a:ext>
            </a:extLst>
          </p:cNvPr>
          <p:cNvCxnSpPr>
            <a:stCxn id="24" idx="2"/>
            <a:endCxn id="27" idx="0"/>
          </p:cNvCxnSpPr>
          <p:nvPr/>
        </p:nvCxnSpPr>
        <p:spPr>
          <a:xfrm>
            <a:off x="10831846" y="4356516"/>
            <a:ext cx="0" cy="30898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6706159-A90B-4540-835B-8B7C55110900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>
            <a:off x="10831846" y="5164524"/>
            <a:ext cx="0" cy="30898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A286F89C-E10B-4849-9E66-054B36004E6D}"/>
              </a:ext>
            </a:extLst>
          </p:cNvPr>
          <p:cNvCxnSpPr>
            <a:stCxn id="29" idx="1"/>
            <a:endCxn id="42" idx="3"/>
          </p:cNvCxnSpPr>
          <p:nvPr/>
        </p:nvCxnSpPr>
        <p:spPr>
          <a:xfrm flipH="1" flipV="1">
            <a:off x="6297772" y="3850071"/>
            <a:ext cx="3667865" cy="1945861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C5EB7620-6A8B-4D64-9A93-3D4F8A47D098}"/>
              </a:ext>
            </a:extLst>
          </p:cNvPr>
          <p:cNvCxnSpPr>
            <a:stCxn id="9" idx="2"/>
            <a:endCxn id="30" idx="0"/>
          </p:cNvCxnSpPr>
          <p:nvPr/>
        </p:nvCxnSpPr>
        <p:spPr>
          <a:xfrm flipH="1">
            <a:off x="1363918" y="3177149"/>
            <a:ext cx="55977" cy="1530125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DC76F1F-6E1B-4377-B546-4F3B14CA3C0F}"/>
              </a:ext>
            </a:extLst>
          </p:cNvPr>
          <p:cNvCxnSpPr>
            <a:stCxn id="42" idx="1"/>
            <a:endCxn id="35" idx="3"/>
          </p:cNvCxnSpPr>
          <p:nvPr/>
        </p:nvCxnSpPr>
        <p:spPr>
          <a:xfrm flipH="1">
            <a:off x="2048999" y="3850071"/>
            <a:ext cx="3025391" cy="1049849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FEA30D31-6B31-4B17-9534-2FE599410407}"/>
              </a:ext>
            </a:extLst>
          </p:cNvPr>
          <p:cNvSpPr txBox="1"/>
          <p:nvPr/>
        </p:nvSpPr>
        <p:spPr>
          <a:xfrm>
            <a:off x="552239" y="5450368"/>
            <a:ext cx="161582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输入传输线参数</a:t>
            </a:r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EC9EC45A-009E-4ABA-91F4-A4C1EA84752B}"/>
              </a:ext>
            </a:extLst>
          </p:cNvPr>
          <p:cNvCxnSpPr>
            <a:stCxn id="30" idx="3"/>
            <a:endCxn id="37" idx="1"/>
          </p:cNvCxnSpPr>
          <p:nvPr/>
        </p:nvCxnSpPr>
        <p:spPr>
          <a:xfrm>
            <a:off x="2484633" y="5355242"/>
            <a:ext cx="782076" cy="4349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D6B315AA-0E27-4B3E-B573-2D97ACCA238B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4678566" y="5355242"/>
            <a:ext cx="712253" cy="4349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E976AA60-5E2C-45CD-9FBA-9B13D9AE844D}"/>
              </a:ext>
            </a:extLst>
          </p:cNvPr>
          <p:cNvSpPr/>
          <p:nvPr/>
        </p:nvSpPr>
        <p:spPr>
          <a:xfrm>
            <a:off x="5373510" y="5187600"/>
            <a:ext cx="1636515" cy="33528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/>
              <a:t>输出仿真结果</a:t>
            </a:r>
            <a:endParaRPr lang="en-US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1924802-882E-4659-AED8-F3474B1E31B5}"/>
              </a:ext>
            </a:extLst>
          </p:cNvPr>
          <p:cNvSpPr/>
          <p:nvPr/>
        </p:nvSpPr>
        <p:spPr>
          <a:xfrm>
            <a:off x="9323163" y="3376037"/>
            <a:ext cx="2625623" cy="19792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F6B415A-B72E-4E71-B249-D02430931F99}"/>
              </a:ext>
            </a:extLst>
          </p:cNvPr>
          <p:cNvSpPr txBox="1"/>
          <p:nvPr/>
        </p:nvSpPr>
        <p:spPr>
          <a:xfrm>
            <a:off x="9421025" y="3470845"/>
            <a:ext cx="139781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在</a:t>
            </a:r>
            <a:r>
              <a:rPr lang="en-US" altLang="zh-CN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S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中完成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39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980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02232018" id="{C6BC4F26-D47C-4FE7-9487-4903B1E8CFA3}" vid="{E6D5D821-B514-4AD8-AB7C-2A1F6114B2A1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eysight_Widescreen_02232018</Template>
  <TotalTime>95</TotalTime>
  <Words>194</Words>
  <Application>Microsoft Office PowerPoint</Application>
  <PresentationFormat>Widescreen</PresentationFormat>
  <Paragraphs>30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黑体</vt:lpstr>
      <vt:lpstr>Arial</vt:lpstr>
      <vt:lpstr>Franklin Gothic Book</vt:lpstr>
      <vt:lpstr>2017 Keysight Macro LIGHT</vt:lpstr>
      <vt:lpstr>Automation Tool</vt:lpstr>
      <vt:lpstr>程序流程图</vt:lpstr>
      <vt:lpstr>PowerPoint Presentation</vt:lpstr>
    </vt:vector>
  </TitlesOfParts>
  <Company>Keysigh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Layout (Maximum 2 Lines)</dc:title>
  <dc:creator>Xian Yu</dc:creator>
  <cp:lastModifiedBy>Xian Yu</cp:lastModifiedBy>
  <cp:revision>5</cp:revision>
  <dcterms:created xsi:type="dcterms:W3CDTF">2019-04-10T07:27:49Z</dcterms:created>
  <dcterms:modified xsi:type="dcterms:W3CDTF">2019-04-10T09:03:41Z</dcterms:modified>
</cp:coreProperties>
</file>